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149F_C272961C.xml" ContentType="application/vnd.ms-powerpoint.comment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60" r:id="rId5"/>
  </p:sldMasterIdLst>
  <p:notesMasterIdLst>
    <p:notesMasterId r:id="rId15"/>
  </p:notesMasterIdLst>
  <p:sldIdLst>
    <p:sldId id="5271" r:id="rId6"/>
    <p:sldId id="256" r:id="rId7"/>
    <p:sldId id="5272" r:id="rId8"/>
    <p:sldId id="5273" r:id="rId9"/>
    <p:sldId id="5274" r:id="rId10"/>
    <p:sldId id="5275" r:id="rId11"/>
    <p:sldId id="5276" r:id="rId12"/>
    <p:sldId id="5279" r:id="rId13"/>
    <p:sldId id="5278" r:id="rId14"/>
  </p:sldIdLst>
  <p:sldSz cx="18288000" cy="10287000"/>
  <p:notesSz cx="6858000" cy="9144000"/>
  <p:embeddedFontLst>
    <p:embeddedFont>
      <p:font typeface="DM Sans 1" panose="020B0604020202020204" charset="0"/>
      <p:regular r:id="rId16"/>
    </p:embeddedFont>
    <p:embeddedFont>
      <p:font typeface="DM Sans 2" panose="020B0604020202020204" charset="0"/>
      <p:regular r:id="rId17"/>
    </p:embeddedFont>
    <p:embeddedFont>
      <p:font typeface="DM Sans 2 Bold" panose="020B0604020202020204" charset="0"/>
      <p:regular r:id="rId18"/>
    </p:embeddedFont>
    <p:embeddedFont>
      <p:font typeface="Open Sans Bold" panose="020B0604020202020204" charset="0"/>
      <p:regular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5AF7CBD-4229-E6CD-4620-256F7EA85DAB}" name="Johannes Hofmann" initials="JH" userId="S::johannes.hofmann@germanzero.de::92824e0a-b7d3-484c-8fb6-41d9fc00b8c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51" d="100"/>
          <a:sy n="51" d="100"/>
        </p:scale>
        <p:origin x="91" y="115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annes Hofmann" userId="92824e0a-b7d3-484c-8fb6-41d9fc00b8c4" providerId="ADAL" clId="{95AD8170-86B2-40C7-B5AD-F35176CEE5C3}"/>
    <pc:docChg chg="custSel modSld">
      <pc:chgData name="Johannes Hofmann" userId="92824e0a-b7d3-484c-8fb6-41d9fc00b8c4" providerId="ADAL" clId="{95AD8170-86B2-40C7-B5AD-F35176CEE5C3}" dt="2024-12-09T10:32:12.309" v="73" actId="20577"/>
      <pc:docMkLst>
        <pc:docMk/>
      </pc:docMkLst>
      <pc:sldChg chg="modSp mod">
        <pc:chgData name="Johannes Hofmann" userId="92824e0a-b7d3-484c-8fb6-41d9fc00b8c4" providerId="ADAL" clId="{95AD8170-86B2-40C7-B5AD-F35176CEE5C3}" dt="2024-12-09T10:28:52.640" v="22" actId="20577"/>
        <pc:sldMkLst>
          <pc:docMk/>
          <pc:sldMk cId="3623253695" sldId="5273"/>
        </pc:sldMkLst>
        <pc:spChg chg="mod">
          <ac:chgData name="Johannes Hofmann" userId="92824e0a-b7d3-484c-8fb6-41d9fc00b8c4" providerId="ADAL" clId="{95AD8170-86B2-40C7-B5AD-F35176CEE5C3}" dt="2024-12-09T10:28:52.640" v="22" actId="20577"/>
          <ac:spMkLst>
            <pc:docMk/>
            <pc:sldMk cId="3623253695" sldId="5273"/>
            <ac:spMk id="45" creationId="{0AD6A73F-41B5-62CF-A67E-8EE424CBE9C1}"/>
          </ac:spMkLst>
        </pc:spChg>
      </pc:sldChg>
      <pc:sldChg chg="modSp mod">
        <pc:chgData name="Johannes Hofmann" userId="92824e0a-b7d3-484c-8fb6-41d9fc00b8c4" providerId="ADAL" clId="{95AD8170-86B2-40C7-B5AD-F35176CEE5C3}" dt="2024-12-09T10:30:30.164" v="64" actId="20577"/>
        <pc:sldMkLst>
          <pc:docMk/>
          <pc:sldMk cId="1865421298" sldId="5276"/>
        </pc:sldMkLst>
        <pc:spChg chg="mod">
          <ac:chgData name="Johannes Hofmann" userId="92824e0a-b7d3-484c-8fb6-41d9fc00b8c4" providerId="ADAL" clId="{95AD8170-86B2-40C7-B5AD-F35176CEE5C3}" dt="2024-12-09T10:30:30.164" v="64" actId="20577"/>
          <ac:spMkLst>
            <pc:docMk/>
            <pc:sldMk cId="1865421298" sldId="5276"/>
            <ac:spMk id="45" creationId="{34938B6C-9847-B188-F95B-10B358FCBE07}"/>
          </ac:spMkLst>
        </pc:spChg>
      </pc:sldChg>
      <pc:sldChg chg="modSp mod">
        <pc:chgData name="Johannes Hofmann" userId="92824e0a-b7d3-484c-8fb6-41d9fc00b8c4" providerId="ADAL" clId="{95AD8170-86B2-40C7-B5AD-F35176CEE5C3}" dt="2024-12-09T10:32:12.309" v="73" actId="20577"/>
        <pc:sldMkLst>
          <pc:docMk/>
          <pc:sldMk cId="3675558555" sldId="5278"/>
        </pc:sldMkLst>
        <pc:spChg chg="mod">
          <ac:chgData name="Johannes Hofmann" userId="92824e0a-b7d3-484c-8fb6-41d9fc00b8c4" providerId="ADAL" clId="{95AD8170-86B2-40C7-B5AD-F35176CEE5C3}" dt="2024-12-09T10:32:12.309" v="73" actId="20577"/>
          <ac:spMkLst>
            <pc:docMk/>
            <pc:sldMk cId="3675558555" sldId="5278"/>
            <ac:spMk id="45" creationId="{2ED93783-DE7A-667B-6762-1F103AA107E9}"/>
          </ac:spMkLst>
        </pc:spChg>
      </pc:sldChg>
    </pc:docChg>
  </pc:docChgLst>
</pc:chgInfo>
</file>

<file path=ppt/comments/modernComment_149F_C272961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20EA00-7B1E-4AF8-8394-11056A01E9AC}" authorId="{35AF7CBD-4229-E6CD-4620-256F7EA85DAB}" created="2024-12-09T10:31:43.379">
    <pc:sldMkLst xmlns:pc="http://schemas.microsoft.com/office/powerpoint/2013/main/command">
      <pc:docMk/>
      <pc:sldMk cId="3262289436" sldId="5279"/>
    </pc:sldMkLst>
    <p188:txBody>
      <a:bodyPr/>
      <a:lstStyle/>
      <a:p>
        <a:r>
          <a:rPr lang="de-DE"/>
          <a:t>Diese Maßnahme müssen wir entweder noch etwas mit Leben füllen oder sonst können wir die auch streichen. [@Pauline Höchter]  ☺️
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B6688-BCDA-48C8-8D58-C3CEC0544009}" type="datetimeFigureOut">
              <a:rPr lang="de-DE" smtClean="0"/>
              <a:t>09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C967E-5D56-422F-B4B8-36C103399BA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388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 all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üs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h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wirk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das Klima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prüf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?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eistufig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fahr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-Einschä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pliz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woh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positiv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negativ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wirk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der Vorlag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rgestell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-Einschä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muss in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vorlag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okumentier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uf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2</a:t>
            </a: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urtei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wirk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ha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ah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toß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CO2-eq (fall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ic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fügba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gründ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ptimierungspotenzia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ternativ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pensatzion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gleichs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biet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or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vorgang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in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mus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klär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chä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ständi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ei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l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tc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C967E-5D56-422F-B4B8-36C103399BA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4457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nanzielle Vorteile für die Kommune: „Beschaffung durch strategischen Einkauf kann die Markteinführung innovativer, umweltfreundlicher Produkte stützen, Arbeitsplätze schaffen und die öffentlichen Kassen entlasten.“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C967E-5D56-422F-B4B8-36C103399BA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75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2199130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7" y="1206452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3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2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070595114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0309749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02601167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76809672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9" y="2541515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5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8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4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4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2" y="582864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8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734520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41" y="2738439"/>
            <a:ext cx="16257407" cy="6527007"/>
          </a:xfrm>
        </p:spPr>
        <p:txBody>
          <a:bodyPr/>
          <a:lstStyle>
            <a:lvl1pPr marL="428646" marR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51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86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46" marR="0" lvl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51" marR="0" lvl="1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86" marR="0" lvl="2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9183371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3317344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9994317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6829770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21039920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43955041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5685342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9420376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97779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721247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62233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9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31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41" y="-332896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>
            <a:lvl1pPr marL="428646" indent="-428646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15484062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78083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9" y="2738439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6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449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69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46" indent="-428646" algn="l" defTabSz="1371669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51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86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420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55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89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924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57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91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9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504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37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71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5006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4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7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backend.repository.difu.de/server/api/core/bitstreams/ed93210e-05d1-45e8-bbbc-cd36c32a704b/content" TargetMode="External"/><Relationship Id="rId5" Type="http://schemas.openxmlformats.org/officeDocument/2006/relationships/hyperlink" Target="https://pixabay.com/de/photos/radweg-radspur-fahrradweg-fahrrad-228126/" TargetMode="Externa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15.png"/><Relationship Id="rId7" Type="http://schemas.openxmlformats.org/officeDocument/2006/relationships/hyperlink" Target="https://www.klimaschutz.de/de/service/klimaschutzmanagement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itfaden.kommunaler-klimaschutz.de/klimaschutzpersonal/aufgaben-von-klimaschutzmanagerinnen/" TargetMode="External"/><Relationship Id="rId5" Type="http://schemas.openxmlformats.org/officeDocument/2006/relationships/hyperlink" Target="https://pixabay.com/de/photos/arbeit-b%C3%BCro-team-gesch%C3%A4ft-internet-5382501/" TargetMode="Externa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backend.repository.difu.de/server/api/core/bitstreams/ed93210e-05d1-45e8-bbbc-cd36c32a704b/content" TargetMode="External"/><Relationship Id="rId3" Type="http://schemas.openxmlformats.org/officeDocument/2006/relationships/image" Target="../media/image12.png"/><Relationship Id="rId7" Type="http://schemas.openxmlformats.org/officeDocument/2006/relationships/hyperlink" Target="https://pixabay.com/de/photos/ampel-gr%C3%BCn-stra%C3%9Fenverkehr-4396736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staedtetag.de/themen/orientierungshilfe-pruefung-klimarelevanter-beschlussvorlagen-in-kommunalen-vertretungskoerperschaften" TargetMode="External"/><Relationship Id="rId11" Type="http://schemas.openxmlformats.org/officeDocument/2006/relationships/hyperlink" Target="https://www.mannheim.de/de/stadt-gestalten/planungskonzepte/flaechennutzungsplanung/flaechennutzungsplan-windenergie" TargetMode="External"/><Relationship Id="rId5" Type="http://schemas.openxmlformats.org/officeDocument/2006/relationships/image" Target="../media/image13.png"/><Relationship Id="rId10" Type="http://schemas.openxmlformats.org/officeDocument/2006/relationships/hyperlink" Target="https://www.klimaschutz-niedersachsen.de/_downloads/Veranstaltungsdokumente/Nachlese-Klimawirkungspruefung-Kommunen/2021-03-09_Veranstaltungsnachlese_Praxistipps_Klimarelevanzpruefung_210304.pdf?m=1615356559&amp;" TargetMode="External"/><Relationship Id="rId4" Type="http://schemas.openxmlformats.org/officeDocument/2006/relationships/image" Target="../media/image16.jpeg"/><Relationship Id="rId9" Type="http://schemas.openxmlformats.org/officeDocument/2006/relationships/hyperlink" Target="https://backend.repository.difu.de/server/api/core/bitstreams/4f9bd571-ef92-4206-bc4d-ab2da4e93f4d/content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backend.repository.difu.de/server/api/core/bitstreams/ed93210e-05d1-45e8-bbbc-cd36c32a704b/content" TargetMode="External"/><Relationship Id="rId5" Type="http://schemas.openxmlformats.org/officeDocument/2006/relationships/hyperlink" Target="https://pixabay.com/de/photos/h%C3%A4user-vogelperspektive-d%C3%A4cher-7924558/" TargetMode="Externa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18.jpeg"/><Relationship Id="rId7" Type="http://schemas.openxmlformats.org/officeDocument/2006/relationships/hyperlink" Target="https://backend.repository.difu.de/server/api/core/bitstreams/ed93210e-05d1-45e8-bbbc-cd36c32a704b/content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klimaschutz.de/sites/default/files/Beteiligung_Klimaschutz_Klima-KomPakt%20barrierefrei_1.pdf" TargetMode="External"/><Relationship Id="rId5" Type="http://schemas.openxmlformats.org/officeDocument/2006/relationships/hyperlink" Target="https://pixabay.com/de/photos/anfang-treffen-brainstorming-594090/" TargetMode="Externa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hyperlink" Target="https://leitfaden.kommunaler-klimaschutz.de/wp-content/uploads/2023/03/Praxisleitfaden_2023_gesamt.pdf" TargetMode="External"/><Relationship Id="rId2" Type="http://schemas.microsoft.com/office/2018/10/relationships/comments" Target="../comments/modernComment_149F_C272961C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ixabay.com/de/photos/arbeit-b%C3%BCro-team-gesch%C3%A4ft-internet-5382501/" TargetMode="External"/><Relationship Id="rId5" Type="http://schemas.openxmlformats.org/officeDocument/2006/relationships/image" Target="../media/image13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hyperlink" Target="https://leitfaden.kommunaler-klimaschutz.de/wp-content/uploads/2023/03/Praxisleitfaden_2023_gesamt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ixabay.com/de/photos/anfang-treffen-brainstorming-594090/" TargetMode="External"/><Relationship Id="rId5" Type="http://schemas.openxmlformats.org/officeDocument/2006/relationships/image" Target="../media/image13.pn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</a:t>
            </a:r>
            <a:r>
              <a:rPr lang="de-DE" dirty="0" err="1"/>
              <a:t>Governance</a:t>
            </a:r>
            <a:r>
              <a:rPr lang="de-DE" dirty="0"/>
              <a:t> 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D94D9C2-619F-69A2-8E2A-704228A61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9" name="Freeform 39"/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3430660" y="1196896"/>
            <a:ext cx="11894274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Governance</a:t>
            </a:r>
          </a:p>
        </p:txBody>
      </p:sp>
      <p:sp>
        <p:nvSpPr>
          <p:cNvPr id="56" name="TextBox 42">
            <a:extLst>
              <a:ext uri="{FF2B5EF4-FFF2-40B4-BE49-F238E27FC236}">
                <a16:creationId xmlns:a16="http://schemas.microsoft.com/office/drawing/2014/main" id="{4CE23E16-84C3-394B-6DAE-27F336E6D6A4}"/>
              </a:ext>
            </a:extLst>
          </p:cNvPr>
          <p:cNvSpPr txBox="1"/>
          <p:nvPr/>
        </p:nvSpPr>
        <p:spPr>
          <a:xfrm>
            <a:off x="517221" y="3238500"/>
            <a:ext cx="17155108" cy="30511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1				Beschluss eines ambitionierten Klimaaktionsplans (KAP)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2				Einrichtung eines kommunalen Klimaschutzmanagements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3				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führung einer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prüf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bei allen kommunalen Beschlüssen</a:t>
            </a:r>
            <a:endParaRPr kumimoji="0" lang="de-DE" sz="18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/>
              <a:ea typeface="DM Sans 2"/>
              <a:cs typeface="DM Sans 2"/>
              <a:sym typeface="DM Sans 2"/>
            </a:endParaRP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4				Etablierung von Klimaschutz als Schnittstellenthema der kommunalen Verwaltung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5				Schaffung strukturierter Möglichkeiten zur zivilgesellschaftlichen Mitbestimmung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6				Sektorenübergreifende Konzepte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7</a:t>
            </a: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				Richtlinien für ein </a:t>
            </a:r>
            <a:r>
              <a:rPr kumimoji="0" lang="de-DE" sz="18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allg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eines nachhaltiges Beschaffungswesen, inkl. Baustoffen (Vergabeordnung)</a:t>
            </a:r>
            <a:endParaRPr kumimoji="0" lang="de-DE" sz="18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/>
              <a:ea typeface="DM Sans 2"/>
              <a:cs typeface="DM Sans 2"/>
              <a:sym typeface="DM Sans 2"/>
            </a:endParaRP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7" name="TextBox 43">
            <a:extLst>
              <a:ext uri="{FF2B5EF4-FFF2-40B4-BE49-F238E27FC236}">
                <a16:creationId xmlns:a16="http://schemas.microsoft.com/office/drawing/2014/main" id="{16E0B86A-855E-D1EE-1A4F-AEEB704E023C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1"/>
              <a:ea typeface="DM Sans 1"/>
              <a:cs typeface="DM Sans 1"/>
              <a:sym typeface="DM Sans 1"/>
            </a:endParaRPr>
          </a:p>
          <a:p>
            <a:pPr marL="0" marR="0" lvl="0" indent="0" algn="l" defTabSz="91440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Reduk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de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nergieverbrauch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8" name="Freeform 13">
            <a:extLst>
              <a:ext uri="{FF2B5EF4-FFF2-40B4-BE49-F238E27FC236}">
                <a16:creationId xmlns:a16="http://schemas.microsoft.com/office/drawing/2014/main" id="{DA682460-3F08-2D32-D7CA-2B98D92FEFD8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4060F2FE-4C27-F8A2-6B12-3363D56E0F52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20EF0E3B-B5C8-3421-5C42-B8A9EE888DF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0DB31C7A-F2F1-D3B5-E89F-D05BF077917B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591CB798-D553-3DEE-83D9-71A478E60FB8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3" name="Group 52">
            <a:extLst>
              <a:ext uri="{FF2B5EF4-FFF2-40B4-BE49-F238E27FC236}">
                <a16:creationId xmlns:a16="http://schemas.microsoft.com/office/drawing/2014/main" id="{C44414A5-8F0E-2D7F-10F3-821345EF62A3}"/>
              </a:ext>
            </a:extLst>
          </p:cNvPr>
          <p:cNvGrpSpPr/>
          <p:nvPr/>
        </p:nvGrpSpPr>
        <p:grpSpPr>
          <a:xfrm>
            <a:off x="2543422" y="4098330"/>
            <a:ext cx="188501" cy="188501"/>
            <a:chOff x="0" y="0"/>
            <a:chExt cx="812800" cy="812800"/>
          </a:xfrm>
        </p:grpSpPr>
        <p:sp>
          <p:nvSpPr>
            <p:cNvPr id="64" name="Freeform 53">
              <a:extLst>
                <a:ext uri="{FF2B5EF4-FFF2-40B4-BE49-F238E27FC236}">
                  <a16:creationId xmlns:a16="http://schemas.microsoft.com/office/drawing/2014/main" id="{3F1650A0-7868-93A8-CD3E-B0EEEEF60F7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TextBox 54">
              <a:extLst>
                <a:ext uri="{FF2B5EF4-FFF2-40B4-BE49-F238E27FC236}">
                  <a16:creationId xmlns:a16="http://schemas.microsoft.com/office/drawing/2014/main" id="{464A2635-3919-74DD-95D1-6D760382F25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47A3BBF7-3AA6-64EC-D7A2-30E099BBCC34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E0FC8D72-E1EA-016D-FA80-425C1FF86EF2}"/>
              </a:ext>
            </a:extLst>
          </p:cNvPr>
          <p:cNvSpPr/>
          <p:nvPr/>
        </p:nvSpPr>
        <p:spPr>
          <a:xfrm>
            <a:off x="3226908" y="406031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206691E0-C12F-2462-478E-CBEAC8C17E6C}"/>
              </a:ext>
            </a:extLst>
          </p:cNvPr>
          <p:cNvSpPr/>
          <p:nvPr/>
        </p:nvSpPr>
        <p:spPr>
          <a:xfrm>
            <a:off x="3225027" y="445770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B8DB9BF9-9C77-25B8-EA8A-4F77E4E5306B}"/>
              </a:ext>
            </a:extLst>
          </p:cNvPr>
          <p:cNvSpPr/>
          <p:nvPr/>
        </p:nvSpPr>
        <p:spPr>
          <a:xfrm>
            <a:off x="3225027" y="481614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D9C08F72-CFDC-3151-3EFE-8A8F54A7A2C3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079E032-C7E0-D3BC-5B5F-F973B43D9E8C}"/>
              </a:ext>
            </a:extLst>
          </p:cNvPr>
          <p:cNvSpPr txBox="1"/>
          <p:nvPr/>
        </p:nvSpPr>
        <p:spPr>
          <a:xfrm>
            <a:off x="3301227" y="405041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7771492-5AB6-ABEC-19C7-FA4C89FE6ED6}"/>
              </a:ext>
            </a:extLst>
          </p:cNvPr>
          <p:cNvSpPr txBox="1"/>
          <p:nvPr/>
        </p:nvSpPr>
        <p:spPr>
          <a:xfrm>
            <a:off x="3301227" y="445770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923C015E-F132-1100-EAAB-7BE421395DC3}"/>
              </a:ext>
            </a:extLst>
          </p:cNvPr>
          <p:cNvSpPr txBox="1"/>
          <p:nvPr/>
        </p:nvSpPr>
        <p:spPr>
          <a:xfrm>
            <a:off x="3301227" y="481549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A732B0FE-192B-52A6-8A06-A8D02789A965}"/>
              </a:ext>
            </a:extLst>
          </p:cNvPr>
          <p:cNvSpPr/>
          <p:nvPr/>
        </p:nvSpPr>
        <p:spPr>
          <a:xfrm>
            <a:off x="3225027" y="3639108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DA0B73FD-C062-65AA-DEC4-24E1CC28331F}"/>
              </a:ext>
            </a:extLst>
          </p:cNvPr>
          <p:cNvSpPr txBox="1"/>
          <p:nvPr/>
        </p:nvSpPr>
        <p:spPr>
          <a:xfrm>
            <a:off x="3301227" y="365434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7" name="Freeform 13">
            <a:extLst>
              <a:ext uri="{FF2B5EF4-FFF2-40B4-BE49-F238E27FC236}">
                <a16:creationId xmlns:a16="http://schemas.microsoft.com/office/drawing/2014/main" id="{DE0D7D87-43E0-5A2C-398A-EF68A04B4043}"/>
              </a:ext>
            </a:extLst>
          </p:cNvPr>
          <p:cNvSpPr/>
          <p:nvPr/>
        </p:nvSpPr>
        <p:spPr>
          <a:xfrm>
            <a:off x="2269849" y="37276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8" name="Group 52">
            <a:extLst>
              <a:ext uri="{FF2B5EF4-FFF2-40B4-BE49-F238E27FC236}">
                <a16:creationId xmlns:a16="http://schemas.microsoft.com/office/drawing/2014/main" id="{109EB5A4-DEB4-3761-19E4-E24C48E5319A}"/>
              </a:ext>
            </a:extLst>
          </p:cNvPr>
          <p:cNvGrpSpPr/>
          <p:nvPr/>
        </p:nvGrpSpPr>
        <p:grpSpPr>
          <a:xfrm>
            <a:off x="2541109" y="3310330"/>
            <a:ext cx="188501" cy="188501"/>
            <a:chOff x="0" y="0"/>
            <a:chExt cx="812800" cy="812800"/>
          </a:xfrm>
        </p:grpSpPr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6B3181CB-52A0-D914-360A-221906F7773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TextBox 54">
              <a:extLst>
                <a:ext uri="{FF2B5EF4-FFF2-40B4-BE49-F238E27FC236}">
                  <a16:creationId xmlns:a16="http://schemas.microsoft.com/office/drawing/2014/main" id="{41A718E5-85D3-9F4F-F1B5-6C3445044784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4" name="Freeform 13">
            <a:extLst>
              <a:ext uri="{FF2B5EF4-FFF2-40B4-BE49-F238E27FC236}">
                <a16:creationId xmlns:a16="http://schemas.microsoft.com/office/drawing/2014/main" id="{CAAB5653-AA47-E482-EC84-6FD3C1911021}"/>
              </a:ext>
            </a:extLst>
          </p:cNvPr>
          <p:cNvSpPr/>
          <p:nvPr/>
        </p:nvSpPr>
        <p:spPr>
          <a:xfrm>
            <a:off x="2269850" y="486428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5" name="Group 52">
            <a:extLst>
              <a:ext uri="{FF2B5EF4-FFF2-40B4-BE49-F238E27FC236}">
                <a16:creationId xmlns:a16="http://schemas.microsoft.com/office/drawing/2014/main" id="{5B764BB6-587E-65B4-4AFB-67E307315F50}"/>
              </a:ext>
            </a:extLst>
          </p:cNvPr>
          <p:cNvGrpSpPr/>
          <p:nvPr/>
        </p:nvGrpSpPr>
        <p:grpSpPr>
          <a:xfrm>
            <a:off x="2541109" y="4457701"/>
            <a:ext cx="188501" cy="188501"/>
            <a:chOff x="0" y="0"/>
            <a:chExt cx="812800" cy="812800"/>
          </a:xfrm>
        </p:grpSpPr>
        <p:sp>
          <p:nvSpPr>
            <p:cNvPr id="86" name="Freeform 53">
              <a:extLst>
                <a:ext uri="{FF2B5EF4-FFF2-40B4-BE49-F238E27FC236}">
                  <a16:creationId xmlns:a16="http://schemas.microsoft.com/office/drawing/2014/main" id="{E7557BDA-9CB2-4BA6-778C-321B19DB120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TextBox 54">
              <a:extLst>
                <a:ext uri="{FF2B5EF4-FFF2-40B4-BE49-F238E27FC236}">
                  <a16:creationId xmlns:a16="http://schemas.microsoft.com/office/drawing/2014/main" id="{295C2568-AC01-E00A-9879-1082781A98D1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8" name="Group 52">
            <a:extLst>
              <a:ext uri="{FF2B5EF4-FFF2-40B4-BE49-F238E27FC236}">
                <a16:creationId xmlns:a16="http://schemas.microsoft.com/office/drawing/2014/main" id="{01FB4EF1-B0B7-C4C5-063E-1A5A19560F20}"/>
              </a:ext>
            </a:extLst>
          </p:cNvPr>
          <p:cNvGrpSpPr/>
          <p:nvPr/>
        </p:nvGrpSpPr>
        <p:grpSpPr>
          <a:xfrm>
            <a:off x="2536916" y="3725451"/>
            <a:ext cx="188501" cy="188501"/>
            <a:chOff x="0" y="0"/>
            <a:chExt cx="812800" cy="812800"/>
          </a:xfrm>
        </p:grpSpPr>
        <p:sp>
          <p:nvSpPr>
            <p:cNvPr id="89" name="Freeform 53">
              <a:extLst>
                <a:ext uri="{FF2B5EF4-FFF2-40B4-BE49-F238E27FC236}">
                  <a16:creationId xmlns:a16="http://schemas.microsoft.com/office/drawing/2014/main" id="{4D1FCEF4-FF82-111C-702A-30B35D93B29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TextBox 54">
              <a:extLst>
                <a:ext uri="{FF2B5EF4-FFF2-40B4-BE49-F238E27FC236}">
                  <a16:creationId xmlns:a16="http://schemas.microsoft.com/office/drawing/2014/main" id="{C7E590F1-27CC-9091-3465-766FB23C465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1" name="Group 52">
            <a:extLst>
              <a:ext uri="{FF2B5EF4-FFF2-40B4-BE49-F238E27FC236}">
                <a16:creationId xmlns:a16="http://schemas.microsoft.com/office/drawing/2014/main" id="{B4E70714-A99C-CC24-E696-B00DB370DF15}"/>
              </a:ext>
            </a:extLst>
          </p:cNvPr>
          <p:cNvGrpSpPr/>
          <p:nvPr/>
        </p:nvGrpSpPr>
        <p:grpSpPr>
          <a:xfrm>
            <a:off x="2534551" y="4859742"/>
            <a:ext cx="188501" cy="188501"/>
            <a:chOff x="0" y="0"/>
            <a:chExt cx="812800" cy="812800"/>
          </a:xfrm>
        </p:grpSpPr>
        <p:sp>
          <p:nvSpPr>
            <p:cNvPr id="92" name="Freeform 53">
              <a:extLst>
                <a:ext uri="{FF2B5EF4-FFF2-40B4-BE49-F238E27FC236}">
                  <a16:creationId xmlns:a16="http://schemas.microsoft.com/office/drawing/2014/main" id="{1DFCACB2-A804-E07F-03AC-1C47A962381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TextBox 54">
              <a:extLst>
                <a:ext uri="{FF2B5EF4-FFF2-40B4-BE49-F238E27FC236}">
                  <a16:creationId xmlns:a16="http://schemas.microsoft.com/office/drawing/2014/main" id="{8CAD309E-9D88-ED98-3234-374E951B587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B7E5E58-1F6A-036E-6D89-F7A23D56B63F}"/>
              </a:ext>
            </a:extLst>
          </p:cNvPr>
          <p:cNvSpPr/>
          <p:nvPr/>
        </p:nvSpPr>
        <p:spPr>
          <a:xfrm>
            <a:off x="3225027" y="520162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097E53D-55F7-A5B6-91B2-EE6A875374A1}"/>
              </a:ext>
            </a:extLst>
          </p:cNvPr>
          <p:cNvSpPr/>
          <p:nvPr/>
        </p:nvSpPr>
        <p:spPr>
          <a:xfrm>
            <a:off x="3225027" y="5588443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3EE3E9D-038E-255E-9FCD-1F5DA239F7E6}"/>
              </a:ext>
            </a:extLst>
          </p:cNvPr>
          <p:cNvSpPr txBox="1"/>
          <p:nvPr/>
        </p:nvSpPr>
        <p:spPr>
          <a:xfrm>
            <a:off x="3307925" y="520719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B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3924587-B8D5-694B-E950-CD6B4BFB5E5D}"/>
              </a:ext>
            </a:extLst>
          </p:cNvPr>
          <p:cNvSpPr txBox="1"/>
          <p:nvPr/>
        </p:nvSpPr>
        <p:spPr>
          <a:xfrm>
            <a:off x="3301227" y="5585405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B</a:t>
            </a:r>
          </a:p>
        </p:txBody>
      </p:sp>
      <p:grpSp>
        <p:nvGrpSpPr>
          <p:cNvPr id="13" name="Group 52">
            <a:extLst>
              <a:ext uri="{FF2B5EF4-FFF2-40B4-BE49-F238E27FC236}">
                <a16:creationId xmlns:a16="http://schemas.microsoft.com/office/drawing/2014/main" id="{76DADA42-2142-97B1-3C25-6F9371BA117F}"/>
              </a:ext>
            </a:extLst>
          </p:cNvPr>
          <p:cNvGrpSpPr/>
          <p:nvPr/>
        </p:nvGrpSpPr>
        <p:grpSpPr>
          <a:xfrm>
            <a:off x="2552223" y="5262691"/>
            <a:ext cx="188501" cy="188501"/>
            <a:chOff x="0" y="0"/>
            <a:chExt cx="812800" cy="812800"/>
          </a:xfrm>
        </p:grpSpPr>
        <p:sp>
          <p:nvSpPr>
            <p:cNvPr id="14" name="Freeform 53">
              <a:extLst>
                <a:ext uri="{FF2B5EF4-FFF2-40B4-BE49-F238E27FC236}">
                  <a16:creationId xmlns:a16="http://schemas.microsoft.com/office/drawing/2014/main" id="{47C2B25E-DC70-0F3B-E2A4-E151DDE86AD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TextBox 54">
              <a:extLst>
                <a:ext uri="{FF2B5EF4-FFF2-40B4-BE49-F238E27FC236}">
                  <a16:creationId xmlns:a16="http://schemas.microsoft.com/office/drawing/2014/main" id="{35185062-FFD4-68B6-F4FA-E13B993A192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52">
            <a:extLst>
              <a:ext uri="{FF2B5EF4-FFF2-40B4-BE49-F238E27FC236}">
                <a16:creationId xmlns:a16="http://schemas.microsoft.com/office/drawing/2014/main" id="{28B6A941-AF9D-722B-8371-556B1CDC4158}"/>
              </a:ext>
            </a:extLst>
          </p:cNvPr>
          <p:cNvGrpSpPr/>
          <p:nvPr/>
        </p:nvGrpSpPr>
        <p:grpSpPr>
          <a:xfrm>
            <a:off x="2541108" y="5644074"/>
            <a:ext cx="188501" cy="188501"/>
            <a:chOff x="0" y="0"/>
            <a:chExt cx="812800" cy="812800"/>
          </a:xfrm>
        </p:grpSpPr>
        <p:sp>
          <p:nvSpPr>
            <p:cNvPr id="17" name="Freeform 53">
              <a:extLst>
                <a:ext uri="{FF2B5EF4-FFF2-40B4-BE49-F238E27FC236}">
                  <a16:creationId xmlns:a16="http://schemas.microsoft.com/office/drawing/2014/main" id="{455C69AE-FCCC-CD66-0828-45138D0CA23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TextBox 54">
              <a:extLst>
                <a:ext uri="{FF2B5EF4-FFF2-40B4-BE49-F238E27FC236}">
                  <a16:creationId xmlns:a16="http://schemas.microsoft.com/office/drawing/2014/main" id="{6C26EF38-90DB-E902-3C02-4AAFB15090BC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A5352-22C0-4F47-1B9A-A4FAB5361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6">
            <a:extLst>
              <a:ext uri="{FF2B5EF4-FFF2-40B4-BE49-F238E27FC236}">
                <a16:creationId xmlns:a16="http://schemas.microsoft.com/office/drawing/2014/main" id="{F810200E-EEF4-EF91-F4F0-054FBC46E3E1}"/>
              </a:ext>
            </a:extLst>
          </p:cNvPr>
          <p:cNvGrpSpPr/>
          <p:nvPr/>
        </p:nvGrpSpPr>
        <p:grpSpPr>
          <a:xfrm>
            <a:off x="612248" y="7151016"/>
            <a:ext cx="188501" cy="188501"/>
            <a:chOff x="0" y="0"/>
            <a:chExt cx="812800" cy="812800"/>
          </a:xfrm>
        </p:grpSpPr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4AFDA6FA-535C-854C-978B-89088ABF63E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TextBox 38">
              <a:extLst>
                <a:ext uri="{FF2B5EF4-FFF2-40B4-BE49-F238E27FC236}">
                  <a16:creationId xmlns:a16="http://schemas.microsoft.com/office/drawing/2014/main" id="{60154F6C-7CFF-084C-50F8-127F78BAAD1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" name="AutoShape 2">
            <a:extLst>
              <a:ext uri="{FF2B5EF4-FFF2-40B4-BE49-F238E27FC236}">
                <a16:creationId xmlns:a16="http://schemas.microsoft.com/office/drawing/2014/main" id="{A3A53524-1BE2-3086-9262-D93742E78BDC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C8B14AC2-3F63-A073-4F87-42303ECF3B5D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F20B0488-6AF3-1566-C49E-AB9725C3374E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EB347F7D-1E05-D608-87C9-8150E06B83D3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4145E8B3-87DA-8AF5-EF6F-D3232BD558D4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21433DD0-94A4-520C-BCF9-F0534C226243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E9B4B911-433D-631C-F03A-17843E1B31DF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6C083F9F-EA23-D41E-0C83-BC2A65133314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34CDFCC6-5036-F00C-3C4C-66EA6FEDC8DF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4" name="Group 34">
            <a:extLst>
              <a:ext uri="{FF2B5EF4-FFF2-40B4-BE49-F238E27FC236}">
                <a16:creationId xmlns:a16="http://schemas.microsoft.com/office/drawing/2014/main" id="{C1D71FE5-7340-251C-B2E0-25CAF2EA6CE1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59A7C170-439A-F9C2-50BA-D5C1E227999F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33E1E954-74FD-BACC-116F-AE3AAECB72F0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1C55EAE2-AAA1-6613-10C9-8AC3CFBE28EA}"/>
              </a:ext>
            </a:extLst>
          </p:cNvPr>
          <p:cNvSpPr txBox="1"/>
          <p:nvPr/>
        </p:nvSpPr>
        <p:spPr>
          <a:xfrm>
            <a:off x="517221" y="2150128"/>
            <a:ext cx="12409180" cy="42053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konzep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ukturell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undlag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anker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rschnittsaufgab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de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entr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stei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nd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st-Analy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litativ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ntitativ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tenzia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zenarienermittl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ategieentwickl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katalo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ontrollin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zep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fass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zept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s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ueraufgab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tenfal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sprechen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bstel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s. TOP 002)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blie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</p:txBody>
      </p:sp>
      <p:sp>
        <p:nvSpPr>
          <p:cNvPr id="46" name="TextBox 46">
            <a:extLst>
              <a:ext uri="{FF2B5EF4-FFF2-40B4-BE49-F238E27FC236}">
                <a16:creationId xmlns:a16="http://schemas.microsoft.com/office/drawing/2014/main" id="{FEAAD597-D5D6-92ED-740B-A1B3515E01CB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>
            <a:extLst>
              <a:ext uri="{FF2B5EF4-FFF2-40B4-BE49-F238E27FC236}">
                <a16:creationId xmlns:a16="http://schemas.microsoft.com/office/drawing/2014/main" id="{CDC93D8D-5F19-4B4A-AFF5-5B0D18840366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7F90F801-ABC4-15BC-B081-D430C9F4AB41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23AF79D4-8366-53F3-8964-C2937BE74BE4}"/>
              </a:ext>
            </a:extLst>
          </p:cNvPr>
          <p:cNvSpPr txBox="1"/>
          <p:nvPr/>
        </p:nvSpPr>
        <p:spPr>
          <a:xfrm>
            <a:off x="13469326" y="6989092"/>
            <a:ext cx="4203003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wirk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*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än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iv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5AF52BE2-15B2-9CC5-C180-B6EAFFE7F6F8}"/>
              </a:ext>
            </a:extLst>
          </p:cNvPr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9E1282CE-15D5-6940-DAD5-C17BB7C44154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CBB61D0D-783A-45B4-6A0F-D5A8DEC88C4C}"/>
              </a:ext>
            </a:extLst>
          </p:cNvPr>
          <p:cNvGrpSpPr/>
          <p:nvPr/>
        </p:nvGrpSpPr>
        <p:grpSpPr>
          <a:xfrm>
            <a:off x="3430660" y="825897"/>
            <a:ext cx="11894274" cy="884858"/>
            <a:chOff x="0" y="-38100"/>
            <a:chExt cx="15859032" cy="1179810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E2C1C733-5ACC-6AA9-83A8-72B8BACF0527}"/>
                </a:ext>
              </a:extLst>
            </p:cNvPr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chlus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mbitionier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aktionsplan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(KAP)</a:t>
              </a: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50E26973-781D-AF06-F161-D8886949E58A}"/>
                </a:ext>
              </a:extLst>
            </p:cNvPr>
            <p:cNvSpPr txBox="1"/>
            <p:nvPr/>
          </p:nvSpPr>
          <p:spPr>
            <a:xfrm>
              <a:off x="0" y="-38100"/>
              <a:ext cx="1285677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BB4EC5D-2880-B205-FCBA-3827E3866C14}"/>
              </a:ext>
            </a:extLst>
          </p:cNvPr>
          <p:cNvGrpSpPr/>
          <p:nvPr/>
        </p:nvGrpSpPr>
        <p:grpSpPr>
          <a:xfrm>
            <a:off x="-15767" y="2228434"/>
            <a:ext cx="177227" cy="7619745"/>
            <a:chOff x="-34161" y="-59805"/>
            <a:chExt cx="236303" cy="10159662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8993EDA-2AA3-5BE2-D841-4ED8C107A48E}"/>
                </a:ext>
              </a:extLst>
            </p:cNvPr>
            <p:cNvSpPr txBox="1"/>
            <p:nvPr/>
          </p:nvSpPr>
          <p:spPr>
            <a:xfrm rot="16200000">
              <a:off x="-4474009" y="4392865"/>
              <a:ext cx="9128819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, ab S. 114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B7CFBB1-40B5-C64E-E308-AA07BD7538B0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9012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4D59CB-D3A2-1607-9646-D1916E9868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151624DA-7472-B84B-DFFD-96AF4A7F89D9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B234C805-A619-F2C5-F004-519234511DD8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CE6EDCFD-0F12-F7C4-36A4-646681B8181A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42E9E2FD-1257-209B-A608-7366CF0C0E95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9307DA87-7B71-88E5-C946-1956D5F27E15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BFFCAF23-16EB-D7C2-03CA-3833897E0A27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7A4511B3-0AAC-27BF-3C04-4278E978F36E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C61575B7-D6B6-6329-5C26-1C22B8ACA0BC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B2ED2BAC-5AC5-7B70-B7F2-643449C79FBC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11" name="Group 11">
            <a:extLst>
              <a:ext uri="{FF2B5EF4-FFF2-40B4-BE49-F238E27FC236}">
                <a16:creationId xmlns:a16="http://schemas.microsoft.com/office/drawing/2014/main" id="{37F8EB7A-9F20-54F6-4094-6D7613D4B598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118E53FC-F5BB-F2FF-4222-5A4BE8DE249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37436827-4C51-4AAC-0BDB-7AD367FBD272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4" name="Group 34">
            <a:extLst>
              <a:ext uri="{FF2B5EF4-FFF2-40B4-BE49-F238E27FC236}">
                <a16:creationId xmlns:a16="http://schemas.microsoft.com/office/drawing/2014/main" id="{149B532B-ADCD-A57B-B146-E84B23DCC8F7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286AFB94-0E8D-B555-E3B6-63D2A0C10298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grpSp>
        <p:nvGrpSpPr>
          <p:cNvPr id="36" name="Group 36">
            <a:extLst>
              <a:ext uri="{FF2B5EF4-FFF2-40B4-BE49-F238E27FC236}">
                <a16:creationId xmlns:a16="http://schemas.microsoft.com/office/drawing/2014/main" id="{9E9C9657-F189-569D-48C5-082BAA84CFAE}"/>
              </a:ext>
            </a:extLst>
          </p:cNvPr>
          <p:cNvGrpSpPr/>
          <p:nvPr/>
        </p:nvGrpSpPr>
        <p:grpSpPr>
          <a:xfrm>
            <a:off x="615671" y="8279302"/>
            <a:ext cx="188501" cy="188501"/>
            <a:chOff x="0" y="0"/>
            <a:chExt cx="812800" cy="812800"/>
          </a:xfrm>
        </p:grpSpPr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4A738E22-6773-824C-D4F4-8CADA775990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TextBox 38">
              <a:extLst>
                <a:ext uri="{FF2B5EF4-FFF2-40B4-BE49-F238E27FC236}">
                  <a16:creationId xmlns:a16="http://schemas.microsoft.com/office/drawing/2014/main" id="{606E550F-2B4E-3F57-0845-64FBD1EB8F7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B4004F10-56BA-CCB7-3D14-529FCBBC21C0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0AD6A73F-41B5-62CF-A67E-8EE424CBE9C1}"/>
              </a:ext>
            </a:extLst>
          </p:cNvPr>
          <p:cNvSpPr txBox="1"/>
          <p:nvPr/>
        </p:nvSpPr>
        <p:spPr>
          <a:xfrm>
            <a:off x="517221" y="2150128"/>
            <a:ext cx="12097407" cy="3820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s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ständi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die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projek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Zu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gab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ähl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möglichkei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schläg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stenschätzun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antwor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cht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a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u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m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auftrag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kräf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alisier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wa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okumentatio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jektfortschrit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keitsarbei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gru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ielzah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levan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he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rauc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kussi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.h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haltlich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teil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isch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folgenanpassung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g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Zusammenarbeit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levant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akteur:inn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Ort</a:t>
            </a: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787318A5-A605-83FD-DF71-6863C2D95873}"/>
              </a:ext>
            </a:extLst>
          </p:cNvPr>
          <p:cNvSpPr txBox="1"/>
          <p:nvPr/>
        </p:nvSpPr>
        <p:spPr>
          <a:xfrm>
            <a:off x="889210" y="7027192"/>
            <a:ext cx="11554521" cy="1884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Maßnahme: </a:t>
            </a:r>
          </a:p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Dritter, die technische Maßnahme umzusetzen</a:t>
            </a:r>
          </a:p>
          <a:p>
            <a:pPr algn="l">
              <a:lnSpc>
                <a:spcPts val="3039"/>
              </a:lnSpc>
            </a:pPr>
            <a:endParaRPr lang="en-US" sz="1899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b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 Maßnahme: </a:t>
            </a:r>
          </a:p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 der Rahmenbedingungen für andere Akteure</a:t>
            </a: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30FBB28B-2CED-CAE5-B994-4C8CE43B1860}"/>
              </a:ext>
            </a:extLst>
          </p:cNvPr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ezu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levan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-akteu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Ort</a:t>
            </a: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CF299B57-0601-D7D3-23EE-20BAC183FECE}"/>
              </a:ext>
            </a:extLst>
          </p:cNvPr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CBBEC729-85AC-40D3-6D85-821E9D0B1132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8F431697-D0DB-2790-9FFD-4AC6A8062936}"/>
              </a:ext>
            </a:extLst>
          </p:cNvPr>
          <p:cNvGrpSpPr/>
          <p:nvPr/>
        </p:nvGrpSpPr>
        <p:grpSpPr>
          <a:xfrm>
            <a:off x="3430660" y="825897"/>
            <a:ext cx="11894274" cy="884858"/>
            <a:chOff x="0" y="-38100"/>
            <a:chExt cx="15859032" cy="1179810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79F6612F-7C21-2667-070B-4453B0E0C1DD}"/>
                </a:ext>
              </a:extLst>
            </p:cNvPr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rich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schutzmanagements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35DE37AB-1B34-B3D0-45E3-9240492C7B86}"/>
                </a:ext>
              </a:extLst>
            </p:cNvPr>
            <p:cNvSpPr txBox="1"/>
            <p:nvPr/>
          </p:nvSpPr>
          <p:spPr>
            <a:xfrm>
              <a:off x="0" y="-38100"/>
              <a:ext cx="1285677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800F7B-7B53-198F-F28A-1B265725AA5F}"/>
              </a:ext>
            </a:extLst>
          </p:cNvPr>
          <p:cNvGrpSpPr/>
          <p:nvPr/>
        </p:nvGrpSpPr>
        <p:grpSpPr>
          <a:xfrm>
            <a:off x="-15767" y="2226328"/>
            <a:ext cx="177227" cy="7621851"/>
            <a:chOff x="-34161" y="-62613"/>
            <a:chExt cx="236303" cy="1016247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9EE1782-BCC1-831A-F75B-15A5830047C8}"/>
                </a:ext>
              </a:extLst>
            </p:cNvPr>
            <p:cNvSpPr txBox="1"/>
            <p:nvPr/>
          </p:nvSpPr>
          <p:spPr>
            <a:xfrm rot="16200000">
              <a:off x="-4474009" y="4390057"/>
              <a:ext cx="9128819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gab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manager:in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MWK, NKI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gab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möglichkeit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management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8FE0BCC-674C-DFFD-80DC-39F40FAD1532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4" name="TextBox 47">
            <a:extLst>
              <a:ext uri="{FF2B5EF4-FFF2-40B4-BE49-F238E27FC236}">
                <a16:creationId xmlns:a16="http://schemas.microsoft.com/office/drawing/2014/main" id="{4FF4BC20-7511-21ED-3A7F-115B2663B4C6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5" name="TextBox 46">
            <a:extLst>
              <a:ext uri="{FF2B5EF4-FFF2-40B4-BE49-F238E27FC236}">
                <a16:creationId xmlns:a16="http://schemas.microsoft.com/office/drawing/2014/main" id="{8D801CEE-CD68-BF05-3636-C5BC343D86A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623253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1DDBA2-17E2-34C2-DBDF-FD64F2A1D7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958B5670-E1E5-E11B-FC15-0E5694645CF5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992B5F63-371C-CE6F-B57D-CA866AC04608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5731B9C8-7E29-1F0E-F718-582BA08DFA0B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66638327-986B-9480-9098-8FF0E243379E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73E1A3D6-1B4D-4C4D-0C7C-A4DA1214B1A6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A360D68B-B6AF-C0E7-46DA-67F33F75DE3F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E39A8B81-3759-304C-09EE-F4B0DBEFFA13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9D792934-E841-C4CB-5A6F-26CC758F004C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619E6F89-DD6D-25D0-D599-FD4F95EC1C67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4" name="Group 34">
            <a:extLst>
              <a:ext uri="{FF2B5EF4-FFF2-40B4-BE49-F238E27FC236}">
                <a16:creationId xmlns:a16="http://schemas.microsoft.com/office/drawing/2014/main" id="{2035826B-A392-DD87-3F6D-1E80545CD0DE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1062A634-6AAB-8762-F69F-5B45F5EC0F86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4321FE2A-1F9F-195B-251F-A70ADFAB691C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B9A4EB98-9093-07AA-9876-CDF74621400D}"/>
              </a:ext>
            </a:extLst>
          </p:cNvPr>
          <p:cNvSpPr txBox="1"/>
          <p:nvPr/>
        </p:nvSpPr>
        <p:spPr>
          <a:xfrm>
            <a:off x="517221" y="2150128"/>
            <a:ext cx="12409180" cy="3820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“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check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”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nan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währleiste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asp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eit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proze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hab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ücksichti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ll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kre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s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le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ssort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nerhalb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tenziell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wirk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ücksichtigen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gativ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wirk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hinder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l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nimier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 Difu hat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sa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m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ut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ädteta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/>
              </a:rPr>
              <a:t>Orientierungshilf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vorla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el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eistufige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fahr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1)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-Einschä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(2)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üf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relevanz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fer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han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ha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stoß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CO</a:t>
            </a:r>
            <a:r>
              <a:rPr lang="en-US" sz="1899" baseline="-250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2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eq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rstel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woh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sitiv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ch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gativ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wirkungen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E96F83B1-911D-B713-0256-A0F2096A02EF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A58E5CFD-FB82-B812-232C-D9FDD9B490DE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CCD1546A-9989-5655-42F3-7B0C01F14835}"/>
              </a:ext>
            </a:extLst>
          </p:cNvPr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9EB86D59-104F-6DC9-1A07-3D201B12DC3F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E2F2B664-FDFE-2731-7DE4-E4089CB3EC60}"/>
              </a:ext>
            </a:extLst>
          </p:cNvPr>
          <p:cNvGrpSpPr/>
          <p:nvPr/>
        </p:nvGrpSpPr>
        <p:grpSpPr>
          <a:xfrm>
            <a:off x="3430660" y="297967"/>
            <a:ext cx="11894274" cy="1423467"/>
            <a:chOff x="0" y="-38100"/>
            <a:chExt cx="15859032" cy="1897955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31713AE8-70A9-3067-EF5F-B5AC60A877D7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füh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relevanzprüf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i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chlüss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9F71B48A-AFE6-06F7-7A00-25D7A46BF1A1}"/>
                </a:ext>
              </a:extLst>
            </p:cNvPr>
            <p:cNvSpPr txBox="1"/>
            <p:nvPr/>
          </p:nvSpPr>
          <p:spPr>
            <a:xfrm>
              <a:off x="0" y="-38100"/>
              <a:ext cx="1521787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2F42B4B-D16C-E7AA-E7FE-23F6F31A525A}"/>
              </a:ext>
            </a:extLst>
          </p:cNvPr>
          <p:cNvGrpSpPr/>
          <p:nvPr/>
        </p:nvGrpSpPr>
        <p:grpSpPr>
          <a:xfrm>
            <a:off x="-15767" y="2269732"/>
            <a:ext cx="531500" cy="7578447"/>
            <a:chOff x="-34161" y="-4741"/>
            <a:chExt cx="708665" cy="10104598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5B76ECA-8198-903B-3CCF-35206652DAEA}"/>
                </a:ext>
              </a:extLst>
            </p:cNvPr>
            <p:cNvSpPr txBox="1"/>
            <p:nvPr/>
          </p:nvSpPr>
          <p:spPr>
            <a:xfrm rot="16200000">
              <a:off x="-4241027" y="4208547"/>
              <a:ext cx="9128819" cy="7022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, S. 29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1: Dein Projekt. Zum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check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atsbeschlüss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agentur Niedersachsen 2021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anstaltungs-Nachles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tipp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di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relevanzprüf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schlussvorlag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1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518DCAC-B86F-7557-02C0-AE6472B33D33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9" name="Group 36">
            <a:extLst>
              <a:ext uri="{FF2B5EF4-FFF2-40B4-BE49-F238E27FC236}">
                <a16:creationId xmlns:a16="http://schemas.microsoft.com/office/drawing/2014/main" id="{5902CA99-5A6C-BA9D-38EF-3665E0CCAA04}"/>
              </a:ext>
            </a:extLst>
          </p:cNvPr>
          <p:cNvGrpSpPr/>
          <p:nvPr/>
        </p:nvGrpSpPr>
        <p:grpSpPr>
          <a:xfrm>
            <a:off x="612248" y="7151016"/>
            <a:ext cx="188501" cy="188501"/>
            <a:chOff x="0" y="0"/>
            <a:chExt cx="812800" cy="812800"/>
          </a:xfrm>
        </p:grpSpPr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8FBAAC78-48FF-F51F-DEED-C30F32F9530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TextBox 38">
              <a:extLst>
                <a:ext uri="{FF2B5EF4-FFF2-40B4-BE49-F238E27FC236}">
                  <a16:creationId xmlns:a16="http://schemas.microsoft.com/office/drawing/2014/main" id="{7A2041A9-92FF-7F73-9328-EC943DF782C2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11" name="TextBox 47">
            <a:extLst>
              <a:ext uri="{FF2B5EF4-FFF2-40B4-BE49-F238E27FC236}">
                <a16:creationId xmlns:a16="http://schemas.microsoft.com/office/drawing/2014/main" id="{FA8DE398-2D1D-52DB-B4ED-697E58A81C1F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2" name="TextBox 46">
            <a:extLst>
              <a:ext uri="{FF2B5EF4-FFF2-40B4-BE49-F238E27FC236}">
                <a16:creationId xmlns:a16="http://schemas.microsoft.com/office/drawing/2014/main" id="{8FEF2C55-51E4-FDD4-B943-F6C27B581EDC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140536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7C35F2-7DE2-A62E-DBDC-64AB4BC9A9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4882C52A-99D9-E8CA-E72F-C8994696EF26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74E37CD-5D8B-7F6D-01A7-D6AE902C9C1B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AC4CC544-19F6-8796-E48B-21FE3A0086EF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C0C630CE-2302-01CE-2E84-5E1D46E13FEF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C0DF8FCA-5B35-22F7-A928-ED365675E145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227BB9C8-3231-1CB8-86C0-3B8FF036B752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1AD51167-86E5-0D09-0DB1-ECD130AC4DE1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48847C57-CB64-FEC8-74BF-E5C9181BF3D6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2B0726F6-C2DD-FC01-8084-FE05FCF10CE5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4" name="Group 34">
            <a:extLst>
              <a:ext uri="{FF2B5EF4-FFF2-40B4-BE49-F238E27FC236}">
                <a16:creationId xmlns:a16="http://schemas.microsoft.com/office/drawing/2014/main" id="{CB9B530F-BF85-8528-F078-B58CF825F19C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D32B664F-94DE-0D65-7AE4-A5B818FC096A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8DDA572F-7B76-66C5-466F-708FE7126BD6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D566430F-21D5-081C-C8EB-CAFCEB2A38F0}"/>
              </a:ext>
            </a:extLst>
          </p:cNvPr>
          <p:cNvSpPr txBox="1"/>
          <p:nvPr/>
        </p:nvSpPr>
        <p:spPr>
          <a:xfrm>
            <a:off x="517221" y="2150128"/>
            <a:ext cx="12097407" cy="3820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rschnittsaufgab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l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ssort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anker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dar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tegrier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konzep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Personal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s. TOP 002)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rdinatio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ämterübergreifend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Zusammenarbeit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ei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plan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plan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Ämter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kre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litätszie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standard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eitlini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aff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ämterübergreifen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uerungsgrupp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bei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elf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teressens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elkonflikt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ssort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ke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zule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führ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terner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formationsveranstalt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ul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the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spersona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l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teilun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86E7B5D9-92F8-E16B-DAD9-8EA33B29B82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750CAA89-69BE-D087-ADAA-310E9C1D677E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9CA18A26-5AD0-07AC-12E6-BCCC6B1F0EA4}"/>
              </a:ext>
            </a:extLst>
          </p:cNvPr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5A86F800-5CC2-E21E-C194-3C22584D1218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AE5D3DB6-7A57-9661-AD3C-D4F5ECF42D0B}"/>
              </a:ext>
            </a:extLst>
          </p:cNvPr>
          <p:cNvGrpSpPr/>
          <p:nvPr/>
        </p:nvGrpSpPr>
        <p:grpSpPr>
          <a:xfrm>
            <a:off x="3430660" y="297967"/>
            <a:ext cx="11894274" cy="1423467"/>
            <a:chOff x="0" y="-38100"/>
            <a:chExt cx="15859032" cy="1897955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15FB0A71-CE89-E705-978D-715AB1282A21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tabl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schutz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chnittstellenthema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wal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782DF2F3-99C4-DC02-B454-EE35C829C275}"/>
                </a:ext>
              </a:extLst>
            </p:cNvPr>
            <p:cNvSpPr txBox="1"/>
            <p:nvPr/>
          </p:nvSpPr>
          <p:spPr>
            <a:xfrm>
              <a:off x="0" y="-38100"/>
              <a:ext cx="1521787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29CFEEA-A230-DF0E-9D3C-5F694AC5B04E}"/>
              </a:ext>
            </a:extLst>
          </p:cNvPr>
          <p:cNvGrpSpPr/>
          <p:nvPr/>
        </p:nvGrpSpPr>
        <p:grpSpPr>
          <a:xfrm>
            <a:off x="-15767" y="2239028"/>
            <a:ext cx="177227" cy="7609151"/>
            <a:chOff x="-34161" y="-45679"/>
            <a:chExt cx="236303" cy="1014553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5B173A6-7B77-FED5-B73E-3B02274AA4A9}"/>
                </a:ext>
              </a:extLst>
            </p:cNvPr>
            <p:cNvSpPr txBox="1"/>
            <p:nvPr/>
          </p:nvSpPr>
          <p:spPr>
            <a:xfrm rot="16200000">
              <a:off x="-4480421" y="4406991"/>
              <a:ext cx="9128819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, S. 30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F3C1D93-E662-0FAC-C350-FAB57422B72A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9" name="Group 36">
            <a:extLst>
              <a:ext uri="{FF2B5EF4-FFF2-40B4-BE49-F238E27FC236}">
                <a16:creationId xmlns:a16="http://schemas.microsoft.com/office/drawing/2014/main" id="{F5F41BA4-A557-4A80-7EC4-9C888F77EBF8}"/>
              </a:ext>
            </a:extLst>
          </p:cNvPr>
          <p:cNvGrpSpPr/>
          <p:nvPr/>
        </p:nvGrpSpPr>
        <p:grpSpPr>
          <a:xfrm>
            <a:off x="612248" y="7151016"/>
            <a:ext cx="188501" cy="188501"/>
            <a:chOff x="0" y="0"/>
            <a:chExt cx="812800" cy="812800"/>
          </a:xfrm>
        </p:grpSpPr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270004EF-1AE9-B605-5576-FDCB66F8A24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TextBox 38">
              <a:extLst>
                <a:ext uri="{FF2B5EF4-FFF2-40B4-BE49-F238E27FC236}">
                  <a16:creationId xmlns:a16="http://schemas.microsoft.com/office/drawing/2014/main" id="{98172558-3E37-E2EC-7C30-FC4F4EFB1D4E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11" name="TextBox 47">
            <a:extLst>
              <a:ext uri="{FF2B5EF4-FFF2-40B4-BE49-F238E27FC236}">
                <a16:creationId xmlns:a16="http://schemas.microsoft.com/office/drawing/2014/main" id="{76AA25D0-9EC9-1C90-4052-3DD2BA2BAF3E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2" name="TextBox 46">
            <a:extLst>
              <a:ext uri="{FF2B5EF4-FFF2-40B4-BE49-F238E27FC236}">
                <a16:creationId xmlns:a16="http://schemas.microsoft.com/office/drawing/2014/main" id="{E2FF84DB-A3E7-7F90-200F-0444D98A2228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278296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EAC7F-F462-9DD0-A565-0F2385E66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59D2B729-CB27-6AB8-002A-D6A1B2E6D529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E1447E99-6B4C-6081-30EE-95A953F4FECD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788A449B-B8F8-FEBF-0776-D98F75F73242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736C0B5E-EDE3-8BF5-81E5-79D664B18FBD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CA8392E2-28CA-271A-DFB4-3B6162546A78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EEDCA7C0-8206-49F9-C056-E1FAC5A49962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4C165CCA-56FC-D96B-EF8B-822EC6F45F71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E24B60F7-7192-42E9-FADC-86FFFDF352C5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FE52FCAE-3DA8-4670-54B1-835DD217F62E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11" name="Group 11">
            <a:extLst>
              <a:ext uri="{FF2B5EF4-FFF2-40B4-BE49-F238E27FC236}">
                <a16:creationId xmlns:a16="http://schemas.microsoft.com/office/drawing/2014/main" id="{A4032D5C-C68A-1DD1-5A65-F475BF004C89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8A168D7C-659B-9464-C9C1-B8A49E656FE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AB76A899-5729-4648-B32C-2E350B3015DB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4" name="Group 34">
            <a:extLst>
              <a:ext uri="{FF2B5EF4-FFF2-40B4-BE49-F238E27FC236}">
                <a16:creationId xmlns:a16="http://schemas.microsoft.com/office/drawing/2014/main" id="{6D918C67-699E-EDD0-9A6D-AC2AA8E75688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2A2FB635-23DF-1507-7B6A-3889D395B70C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grpSp>
        <p:nvGrpSpPr>
          <p:cNvPr id="36" name="Group 36">
            <a:extLst>
              <a:ext uri="{FF2B5EF4-FFF2-40B4-BE49-F238E27FC236}">
                <a16:creationId xmlns:a16="http://schemas.microsoft.com/office/drawing/2014/main" id="{6BD8B062-3060-86A5-1CE4-E3E8CEAC409F}"/>
              </a:ext>
            </a:extLst>
          </p:cNvPr>
          <p:cNvGrpSpPr/>
          <p:nvPr/>
        </p:nvGrpSpPr>
        <p:grpSpPr>
          <a:xfrm>
            <a:off x="615671" y="8279302"/>
            <a:ext cx="188501" cy="188501"/>
            <a:chOff x="0" y="0"/>
            <a:chExt cx="812800" cy="812800"/>
          </a:xfrm>
        </p:grpSpPr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79AA3A6D-8470-637D-F3B1-6BE62FE02CD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TextBox 38">
              <a:extLst>
                <a:ext uri="{FF2B5EF4-FFF2-40B4-BE49-F238E27FC236}">
                  <a16:creationId xmlns:a16="http://schemas.microsoft.com/office/drawing/2014/main" id="{90786C1F-F336-CE2A-B7E9-B8E6ED43EA4E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B641FAC9-96EF-FC53-E3D8-960F97063507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34938B6C-9847-B188-F95B-10B358FCBE07}"/>
              </a:ext>
            </a:extLst>
          </p:cNvPr>
          <p:cNvSpPr txBox="1"/>
          <p:nvPr/>
        </p:nvSpPr>
        <p:spPr>
          <a:xfrm>
            <a:off x="517221" y="2150128"/>
            <a:ext cx="12097407" cy="38205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 die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ksamkei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zeptanz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ßnahm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cher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s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nnvol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ühzeiti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gelmäßi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zubin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bei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schieden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rmat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nkba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:innenbei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er da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enkungsgremiu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g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u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zeln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j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ä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elgerichte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tinuier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rbeitskrei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)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Rund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isch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trag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skussionsveranstaltun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…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eiligungsforma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üs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reiche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ersonell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eitlich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pazität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geplan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r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0040171B-FBF9-3960-B322-4643895AA9BD}"/>
              </a:ext>
            </a:extLst>
          </p:cNvPr>
          <p:cNvSpPr txBox="1"/>
          <p:nvPr/>
        </p:nvSpPr>
        <p:spPr>
          <a:xfrm>
            <a:off x="889210" y="7027192"/>
            <a:ext cx="11554521" cy="1884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Maßnahme: </a:t>
            </a:r>
          </a:p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Dritter, die technische Maßnahme umzusetzen</a:t>
            </a:r>
          </a:p>
          <a:p>
            <a:pPr algn="l">
              <a:lnSpc>
                <a:spcPts val="3039"/>
              </a:lnSpc>
            </a:pPr>
            <a:endParaRPr lang="en-US" sz="1899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b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 Maßnahme: </a:t>
            </a:r>
          </a:p>
          <a:p>
            <a:pPr algn="l">
              <a:lnSpc>
                <a:spcPts val="3039"/>
              </a:lnSpc>
            </a:pP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 der Rahmenbedingungen für andere Akteure</a:t>
            </a: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FD5B03ED-F1A0-3C4B-2DC7-99CF04B531AB}"/>
              </a:ext>
            </a:extLst>
          </p:cNvPr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wirk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ürge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ei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iv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65870F43-7A5A-8E77-C171-044E5CAA57ED}"/>
              </a:ext>
            </a:extLst>
          </p:cNvPr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7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B3E9E114-1724-4874-3513-03E11B9DBF0C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711D27F6-25AD-98E7-69E5-BB2B7D2F2CCB}"/>
              </a:ext>
            </a:extLst>
          </p:cNvPr>
          <p:cNvGrpSpPr/>
          <p:nvPr/>
        </p:nvGrpSpPr>
        <p:grpSpPr>
          <a:xfrm>
            <a:off x="3430660" y="297967"/>
            <a:ext cx="11894274" cy="1423467"/>
            <a:chOff x="0" y="-38100"/>
            <a:chExt cx="15859032" cy="1897955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B6A618FA-2F64-03BE-FD04-99D34039EE05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chaff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trukturiert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öglichkei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u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ivilgesellschaft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itbestimm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AF7C3FF4-F8E0-0F25-3469-BA464E347CEA}"/>
                </a:ext>
              </a:extLst>
            </p:cNvPr>
            <p:cNvSpPr txBox="1"/>
            <p:nvPr/>
          </p:nvSpPr>
          <p:spPr>
            <a:xfrm>
              <a:off x="0" y="-38100"/>
              <a:ext cx="1521787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6BD5AF7-3952-E6A5-BE59-CB4FE44C98E7}"/>
              </a:ext>
            </a:extLst>
          </p:cNvPr>
          <p:cNvGrpSpPr/>
          <p:nvPr/>
        </p:nvGrpSpPr>
        <p:grpSpPr>
          <a:xfrm>
            <a:off x="-15767" y="2291999"/>
            <a:ext cx="353508" cy="7556180"/>
            <a:chOff x="-34161" y="24948"/>
            <a:chExt cx="471343" cy="10074909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D5C3F15-C92B-77F1-C337-C03805C6F253}"/>
                </a:ext>
              </a:extLst>
            </p:cNvPr>
            <p:cNvSpPr txBox="1"/>
            <p:nvPr/>
          </p:nvSpPr>
          <p:spPr>
            <a:xfrm rot="16200000">
              <a:off x="-4358658" y="4357927"/>
              <a:ext cx="9128819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I 2020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teilig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twirk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m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kenntniss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gebniss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m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orhab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Klima-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P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581AA1C-D0A2-4519-EB5C-FC87E870575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4" name="TextBox 47">
            <a:extLst>
              <a:ext uri="{FF2B5EF4-FFF2-40B4-BE49-F238E27FC236}">
                <a16:creationId xmlns:a16="http://schemas.microsoft.com/office/drawing/2014/main" id="{C1FA3C79-CC01-6D6F-CE5D-AE6439ECED82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5" name="TextBox 46">
            <a:extLst>
              <a:ext uri="{FF2B5EF4-FFF2-40B4-BE49-F238E27FC236}">
                <a16:creationId xmlns:a16="http://schemas.microsoft.com/office/drawing/2014/main" id="{0A24AE44-63A0-AA8D-F7B6-C42C2AD9255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865421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4F19C7-CBDE-FAB6-D6BD-387C7700C2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C6BA81BE-CAE3-5569-3D6B-D2E0DCD897F0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DB156656-B3F4-DFBB-152A-EAEC06858F4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04898E00-75EE-1EE5-6A22-990672D4A3C5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448B71EC-9ED5-B8AA-10D9-DCA907B92D07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00F5692D-F50E-3C72-426C-2668672C0C76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64E28012-EA3A-6DAF-E3EB-11B570941954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307021E9-D4C1-7756-C558-464636121A5F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817596DF-C2B2-CE9C-94A0-292F8B14B176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6B516E94-19F7-ACAE-AEA1-003D45C87B43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4" name="Group 34">
            <a:extLst>
              <a:ext uri="{FF2B5EF4-FFF2-40B4-BE49-F238E27FC236}">
                <a16:creationId xmlns:a16="http://schemas.microsoft.com/office/drawing/2014/main" id="{41C8C2F8-49B4-6E22-E1AD-0085AF2D7A96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21A9D9D4-AFCC-7A01-8297-A3E156E868E0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A8E0B1B6-17C9-578C-8422-440BF289F6AD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ABF7127F-675F-E333-B782-E57951AE1547}"/>
              </a:ext>
            </a:extLst>
          </p:cNvPr>
          <p:cNvSpPr txBox="1"/>
          <p:nvPr/>
        </p:nvSpPr>
        <p:spPr>
          <a:xfrm>
            <a:off x="517221" y="2150128"/>
            <a:ext cx="12097407" cy="30511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ic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pezif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ekto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zuord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nd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nder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greifend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andl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rit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forder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.a.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vilgesellschaft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llensbild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keit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klärungsarbei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sumverhalt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ichtlini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haltige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affungswe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s. TOP 007)</a:t>
            </a: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6C1FF54A-4B11-4C10-DB27-AA92A4CD8719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3D0FB35D-8268-F73B-D2AC-C4E864EE52DB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D5AAF572-FB4B-972A-E56B-7729DCC98A19}"/>
              </a:ext>
            </a:extLst>
          </p:cNvPr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8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677EEBF5-F62A-7C04-F20C-6080E3FFBACF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6B1A4C61-638C-059F-CE87-5B9177A86F7F}"/>
              </a:ext>
            </a:extLst>
          </p:cNvPr>
          <p:cNvGrpSpPr/>
          <p:nvPr/>
        </p:nvGrpSpPr>
        <p:grpSpPr>
          <a:xfrm>
            <a:off x="3430660" y="825897"/>
            <a:ext cx="11894274" cy="884858"/>
            <a:chOff x="0" y="-38100"/>
            <a:chExt cx="15859032" cy="1179810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68E6B56A-D045-D022-11ED-D69F08F0EA8C}"/>
                </a:ext>
              </a:extLst>
            </p:cNvPr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ektorenübergreifend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nzepte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8256E56C-B7A9-2C81-D480-4738E65F3727}"/>
                </a:ext>
              </a:extLst>
            </p:cNvPr>
            <p:cNvSpPr txBox="1"/>
            <p:nvPr/>
          </p:nvSpPr>
          <p:spPr>
            <a:xfrm>
              <a:off x="0" y="-38100"/>
              <a:ext cx="1521787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6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8BB5967-0710-BB2C-EB11-7A0E69C30F04}"/>
              </a:ext>
            </a:extLst>
          </p:cNvPr>
          <p:cNvGrpSpPr/>
          <p:nvPr/>
        </p:nvGrpSpPr>
        <p:grpSpPr>
          <a:xfrm>
            <a:off x="-157813" y="2206273"/>
            <a:ext cx="321498" cy="7641906"/>
            <a:chOff x="-223557" y="-89354"/>
            <a:chExt cx="428665" cy="10189211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3D17823-52C8-D25E-894B-C952E50E0B50}"/>
                </a:ext>
              </a:extLst>
            </p:cNvPr>
            <p:cNvSpPr txBox="1"/>
            <p:nvPr/>
          </p:nvSpPr>
          <p:spPr>
            <a:xfrm rot="16200000">
              <a:off x="-4573634" y="4260723"/>
              <a:ext cx="9128819" cy="4286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303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, S. 230</a:t>
              </a:r>
              <a:endParaRPr lang="en-US" sz="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7F9924D-FAD4-C224-267B-27FA90B51594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4" name="Group 36">
            <a:extLst>
              <a:ext uri="{FF2B5EF4-FFF2-40B4-BE49-F238E27FC236}">
                <a16:creationId xmlns:a16="http://schemas.microsoft.com/office/drawing/2014/main" id="{372A06AC-B51B-B3FE-3679-498CB9748AEA}"/>
              </a:ext>
            </a:extLst>
          </p:cNvPr>
          <p:cNvGrpSpPr/>
          <p:nvPr/>
        </p:nvGrpSpPr>
        <p:grpSpPr>
          <a:xfrm>
            <a:off x="612248" y="7151016"/>
            <a:ext cx="188501" cy="188501"/>
            <a:chOff x="0" y="0"/>
            <a:chExt cx="812800" cy="812800"/>
          </a:xfrm>
        </p:grpSpPr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D22B96AC-ACFB-BF75-9186-41F602D25BE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TextBox 38">
              <a:extLst>
                <a:ext uri="{FF2B5EF4-FFF2-40B4-BE49-F238E27FC236}">
                  <a16:creationId xmlns:a16="http://schemas.microsoft.com/office/drawing/2014/main" id="{2728BB57-8DB9-4989-6224-846934513DD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11" name="TextBox 47">
            <a:extLst>
              <a:ext uri="{FF2B5EF4-FFF2-40B4-BE49-F238E27FC236}">
                <a16:creationId xmlns:a16="http://schemas.microsoft.com/office/drawing/2014/main" id="{5D55FBED-436D-FF89-E643-B4D8AEB05716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2" name="TextBox 46">
            <a:extLst>
              <a:ext uri="{FF2B5EF4-FFF2-40B4-BE49-F238E27FC236}">
                <a16:creationId xmlns:a16="http://schemas.microsoft.com/office/drawing/2014/main" id="{E063538A-6A9E-A63E-18E5-6172C7BB0099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26228943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A1BB8-10BF-049F-28E9-C692A01E6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D80BC3FA-B85B-ABCA-FF6A-E0E9F7A85834}"/>
              </a:ext>
            </a:extLst>
          </p:cNvPr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D81268B-2309-9AE8-64AB-1A5934510677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24731ED9-D315-A4A5-0929-9D783B1D7E5A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73E43979-AA72-8FF9-2970-35DE75FC4898}"/>
              </a:ext>
            </a:extLst>
          </p:cNvPr>
          <p:cNvGrpSpPr/>
          <p:nvPr/>
        </p:nvGrpSpPr>
        <p:grpSpPr>
          <a:xfrm>
            <a:off x="743429" y="1620026"/>
            <a:ext cx="2370082" cy="339603"/>
            <a:chOff x="0" y="0"/>
            <a:chExt cx="3160109" cy="452804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6CEFE734-1FD9-4CA5-FC85-C86735D7A829}"/>
                </a:ext>
              </a:extLst>
            </p:cNvPr>
            <p:cNvGrpSpPr/>
            <p:nvPr/>
          </p:nvGrpSpPr>
          <p:grpSpPr>
            <a:xfrm>
              <a:off x="0" y="0"/>
              <a:ext cx="3160109" cy="452804"/>
              <a:chOff x="0" y="0"/>
              <a:chExt cx="877808" cy="125779"/>
            </a:xfrm>
          </p:grpSpPr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40743E82-7EC0-B28E-44E5-729247FF7625}"/>
                  </a:ext>
                </a:extLst>
              </p:cNvPr>
              <p:cNvSpPr/>
              <p:nvPr/>
            </p:nvSpPr>
            <p:spPr>
              <a:xfrm>
                <a:off x="0" y="0"/>
                <a:ext cx="877808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877808" h="125779">
                    <a:moveTo>
                      <a:pt x="0" y="0"/>
                    </a:moveTo>
                    <a:lnTo>
                      <a:pt x="877808" y="0"/>
                    </a:lnTo>
                    <a:lnTo>
                      <a:pt x="877808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B051B15D-4740-7AA7-1F1D-0F7315BEDEAC}"/>
                  </a:ext>
                </a:extLst>
              </p:cNvPr>
              <p:cNvSpPr txBox="1"/>
              <p:nvPr/>
            </p:nvSpPr>
            <p:spPr>
              <a:xfrm>
                <a:off x="0" y="-114300"/>
                <a:ext cx="877808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40510115-DC1B-3713-2A1C-C503FE390237}"/>
                </a:ext>
              </a:extLst>
            </p:cNvPr>
            <p:cNvSpPr txBox="1"/>
            <p:nvPr/>
          </p:nvSpPr>
          <p:spPr>
            <a:xfrm>
              <a:off x="76426" y="18756"/>
              <a:ext cx="3007257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overnance-Sektor</a:t>
              </a:r>
            </a:p>
          </p:txBody>
        </p:sp>
      </p:grpSp>
      <p:sp>
        <p:nvSpPr>
          <p:cNvPr id="10" name="Freeform 10">
            <a:extLst>
              <a:ext uri="{FF2B5EF4-FFF2-40B4-BE49-F238E27FC236}">
                <a16:creationId xmlns:a16="http://schemas.microsoft.com/office/drawing/2014/main" id="{6E5C809F-1FCE-395D-6DB8-9B72297C4022}"/>
              </a:ext>
            </a:extLst>
          </p:cNvPr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4" name="Group 34">
            <a:extLst>
              <a:ext uri="{FF2B5EF4-FFF2-40B4-BE49-F238E27FC236}">
                <a16:creationId xmlns:a16="http://schemas.microsoft.com/office/drawing/2014/main" id="{69864847-7B11-A15A-F95C-051219C9B172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AB908889-430D-8BC9-ED32-8C7139AD6F98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9" name="Freeform 39">
            <a:extLst>
              <a:ext uri="{FF2B5EF4-FFF2-40B4-BE49-F238E27FC236}">
                <a16:creationId xmlns:a16="http://schemas.microsoft.com/office/drawing/2014/main" id="{0B158B42-2356-3141-AD66-E51455676DFC}"/>
              </a:ext>
            </a:extLst>
          </p:cNvPr>
          <p:cNvSpPr/>
          <p:nvPr/>
        </p:nvSpPr>
        <p:spPr>
          <a:xfrm>
            <a:off x="1159299" y="477471"/>
            <a:ext cx="1538341" cy="1142554"/>
          </a:xfrm>
          <a:custGeom>
            <a:avLst/>
            <a:gdLst/>
            <a:ahLst/>
            <a:cxnLst/>
            <a:rect l="l" t="t" r="r" b="b"/>
            <a:pathLst>
              <a:path w="1538341" h="1142554">
                <a:moveTo>
                  <a:pt x="0" y="0"/>
                </a:moveTo>
                <a:lnTo>
                  <a:pt x="1538342" y="0"/>
                </a:lnTo>
                <a:lnTo>
                  <a:pt x="1538342" y="1142555"/>
                </a:lnTo>
                <a:lnTo>
                  <a:pt x="0" y="1142555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l="-3816" t="-24078" r="-3302" b="-20387"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5" name="TextBox 45">
            <a:extLst>
              <a:ext uri="{FF2B5EF4-FFF2-40B4-BE49-F238E27FC236}">
                <a16:creationId xmlns:a16="http://schemas.microsoft.com/office/drawing/2014/main" id="{2ED93783-DE7A-667B-6762-1F103AA107E9}"/>
              </a:ext>
            </a:extLst>
          </p:cNvPr>
          <p:cNvSpPr txBox="1"/>
          <p:nvPr/>
        </p:nvSpPr>
        <p:spPr>
          <a:xfrm>
            <a:off x="517221" y="2150128"/>
            <a:ext cx="12097407" cy="45900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welt- und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freundlich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aff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dukt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de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zu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stleist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und fü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s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sent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ebel, um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neutralitä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anzutreib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effizien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du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frag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sp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in de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ei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ransport, IT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lektrogerä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weltfreund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anstaltun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ücksichtig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haltigkeitsaspek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kau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ebensmittel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ti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u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ita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ti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hörd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entral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spekt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en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pass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gaberichtlini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pflichtend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stanweis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ank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affungsleitfad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rtbildungsangebo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affer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8" name="TextBox 48">
            <a:extLst>
              <a:ext uri="{FF2B5EF4-FFF2-40B4-BE49-F238E27FC236}">
                <a16:creationId xmlns:a16="http://schemas.microsoft.com/office/drawing/2014/main" id="{7F8D6880-E13C-48F1-5571-5B69F37A5F8F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>
            <a:extLst>
              <a:ext uri="{FF2B5EF4-FFF2-40B4-BE49-F238E27FC236}">
                <a16:creationId xmlns:a16="http://schemas.microsoft.com/office/drawing/2014/main" id="{41E38B03-DFF5-3849-A4C4-E1ADC14FC0F4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F842A98E-0004-5130-9A3E-E4B2B3685E63}"/>
              </a:ext>
            </a:extLst>
          </p:cNvPr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9</a:t>
            </a:r>
          </a:p>
        </p:txBody>
      </p:sp>
      <p:sp>
        <p:nvSpPr>
          <p:cNvPr id="51" name="TextBox 51">
            <a:extLst>
              <a:ext uri="{FF2B5EF4-FFF2-40B4-BE49-F238E27FC236}">
                <a16:creationId xmlns:a16="http://schemas.microsoft.com/office/drawing/2014/main" id="{BCB823EC-4F66-B417-BAC0-4F3BE81C7394}"/>
              </a:ext>
            </a:extLst>
          </p:cNvPr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xabay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>
            <a:extLst>
              <a:ext uri="{FF2B5EF4-FFF2-40B4-BE49-F238E27FC236}">
                <a16:creationId xmlns:a16="http://schemas.microsoft.com/office/drawing/2014/main" id="{517BF0F7-263B-BA6C-650A-9E832E045B50}"/>
              </a:ext>
            </a:extLst>
          </p:cNvPr>
          <p:cNvGrpSpPr/>
          <p:nvPr/>
        </p:nvGrpSpPr>
        <p:grpSpPr>
          <a:xfrm>
            <a:off x="3430660" y="297967"/>
            <a:ext cx="11894274" cy="1423467"/>
            <a:chOff x="0" y="-38100"/>
            <a:chExt cx="15859032" cy="1897955"/>
          </a:xfrm>
        </p:grpSpPr>
        <p:sp>
          <p:nvSpPr>
            <p:cNvPr id="53" name="TextBox 53">
              <a:extLst>
                <a:ext uri="{FF2B5EF4-FFF2-40B4-BE49-F238E27FC236}">
                  <a16:creationId xmlns:a16="http://schemas.microsoft.com/office/drawing/2014/main" id="{730E84AD-A994-67B0-A973-F9F2CC75F6DF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Richtlini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lgemein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achhaltig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chaffungswes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,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inkl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.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stoff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(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gabeordn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)</a:t>
              </a: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9D359D9B-5D80-A141-891A-7889F67CE928}"/>
                </a:ext>
              </a:extLst>
            </p:cNvPr>
            <p:cNvSpPr txBox="1"/>
            <p:nvPr/>
          </p:nvSpPr>
          <p:spPr>
            <a:xfrm>
              <a:off x="0" y="-38100"/>
              <a:ext cx="1521787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7</a:t>
              </a:r>
            </a:p>
          </p:txBody>
        </p:sp>
      </p:grpSp>
      <p:grpSp>
        <p:nvGrpSpPr>
          <p:cNvPr id="14" name="Group 36">
            <a:extLst>
              <a:ext uri="{FF2B5EF4-FFF2-40B4-BE49-F238E27FC236}">
                <a16:creationId xmlns:a16="http://schemas.microsoft.com/office/drawing/2014/main" id="{5BB005F9-67BC-D0F1-AECC-ED875C06EC2C}"/>
              </a:ext>
            </a:extLst>
          </p:cNvPr>
          <p:cNvGrpSpPr/>
          <p:nvPr/>
        </p:nvGrpSpPr>
        <p:grpSpPr>
          <a:xfrm>
            <a:off x="612248" y="7151016"/>
            <a:ext cx="188501" cy="188501"/>
            <a:chOff x="0" y="0"/>
            <a:chExt cx="812800" cy="812800"/>
          </a:xfrm>
        </p:grpSpPr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5CB15FC7-A979-6067-2F4A-1E2983C6ACE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TextBox 38">
              <a:extLst>
                <a:ext uri="{FF2B5EF4-FFF2-40B4-BE49-F238E27FC236}">
                  <a16:creationId xmlns:a16="http://schemas.microsoft.com/office/drawing/2014/main" id="{D6EAD60C-9E42-504E-426F-033B3FFB38A1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11" name="TextBox 47">
            <a:extLst>
              <a:ext uri="{FF2B5EF4-FFF2-40B4-BE49-F238E27FC236}">
                <a16:creationId xmlns:a16="http://schemas.microsoft.com/office/drawing/2014/main" id="{9411A881-88B6-749F-BA63-3FFF3359C7E5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b="1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12" name="TextBox 46">
            <a:extLst>
              <a:ext uri="{FF2B5EF4-FFF2-40B4-BE49-F238E27FC236}">
                <a16:creationId xmlns:a16="http://schemas.microsoft.com/office/drawing/2014/main" id="{5B346625-F74A-552F-DA36-1E7AAE8D96BA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b="1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b="1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13" name="Group 55">
            <a:extLst>
              <a:ext uri="{FF2B5EF4-FFF2-40B4-BE49-F238E27FC236}">
                <a16:creationId xmlns:a16="http://schemas.microsoft.com/office/drawing/2014/main" id="{A5F7BC65-CA69-2616-767E-D0D448D0EA61}"/>
              </a:ext>
            </a:extLst>
          </p:cNvPr>
          <p:cNvGrpSpPr/>
          <p:nvPr/>
        </p:nvGrpSpPr>
        <p:grpSpPr>
          <a:xfrm>
            <a:off x="-157813" y="2206273"/>
            <a:ext cx="321498" cy="7641906"/>
            <a:chOff x="-223557" y="-89354"/>
            <a:chExt cx="428665" cy="10189211"/>
          </a:xfrm>
        </p:grpSpPr>
        <p:sp>
          <p:nvSpPr>
            <p:cNvPr id="17" name="TextBox 56">
              <a:extLst>
                <a:ext uri="{FF2B5EF4-FFF2-40B4-BE49-F238E27FC236}">
                  <a16:creationId xmlns:a16="http://schemas.microsoft.com/office/drawing/2014/main" id="{CF8994A2-9D29-6F10-56CD-F683CFABC295}"/>
                </a:ext>
              </a:extLst>
            </p:cNvPr>
            <p:cNvSpPr txBox="1"/>
            <p:nvPr/>
          </p:nvSpPr>
          <p:spPr>
            <a:xfrm rot="16200000">
              <a:off x="-4573634" y="4260723"/>
              <a:ext cx="9128819" cy="4286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303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K:KK 2023: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4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kt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. </a:t>
              </a:r>
              <a:r>
                <a:rPr lang="en-US" sz="900" dirty="0" err="1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lage</a:t>
              </a:r>
              <a:r>
                <a:rPr lang="en-US" sz="900" dirty="0">
                  <a:solidFill>
                    <a:srgbClr val="011633"/>
                  </a:solidFill>
                  <a:latin typeface="DM Sans 2"/>
                  <a:ea typeface="DM Sans 2"/>
                  <a:cs typeface="DM Sans 2"/>
                  <a:sym typeface="DM Sans 2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, S. 230</a:t>
              </a:r>
              <a:endParaRPr lang="en-US" sz="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endParaRPr>
            </a:p>
          </p:txBody>
        </p:sp>
        <p:sp>
          <p:nvSpPr>
            <p:cNvPr id="18" name="TextBox 57">
              <a:extLst>
                <a:ext uri="{FF2B5EF4-FFF2-40B4-BE49-F238E27FC236}">
                  <a16:creationId xmlns:a16="http://schemas.microsoft.com/office/drawing/2014/main" id="{DB3B0168-D5BB-B65A-C66C-75286CDCD3B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5558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61d376a-75eb-4b09-90f3-e6550172123c">
      <Terms xmlns="http://schemas.microsoft.com/office/infopath/2007/PartnerControls"/>
    </lcf76f155ced4ddcb4097134ff3c332f>
    <Description xmlns="a61d376a-75eb-4b09-90f3-e6550172123c" xsi:nil="true"/>
    <TaxCatchAll xmlns="e2407224-1ffa-4b55-9c25-adcd2ee3f21a" xsi:nil="true"/>
    <Bemerkung xmlns="a61d376a-75eb-4b09-90f3-e6550172123c" xsi:nil="true"/>
    <Responsible xmlns="a61d376a-75eb-4b09-90f3-e6550172123c">
      <UserInfo>
        <DisplayName/>
        <AccountId xsi:nil="true"/>
        <AccountType/>
      </UserInfo>
    </Responsible>
    <TaxKeywordTaxHTField xmlns="e2407224-1ffa-4b55-9c25-adcd2ee3f21a">
      <Terms xmlns="http://schemas.microsoft.com/office/infopath/2007/PartnerControls"/>
    </TaxKeywordTaxHTFiel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64D9783C9262A4489780AD3E9776390" ma:contentTypeVersion="23" ma:contentTypeDescription="Ein neues Dokument erstellen." ma:contentTypeScope="" ma:versionID="3041633526ede7b1c8554b06b5cdab29">
  <xsd:schema xmlns:xsd="http://www.w3.org/2001/XMLSchema" xmlns:xs="http://www.w3.org/2001/XMLSchema" xmlns:p="http://schemas.microsoft.com/office/2006/metadata/properties" xmlns:ns2="a61d376a-75eb-4b09-90f3-e6550172123c" xmlns:ns3="e2407224-1ffa-4b55-9c25-adcd2ee3f21a" targetNamespace="http://schemas.microsoft.com/office/2006/metadata/properties" ma:root="true" ma:fieldsID="2de448b228eb540b5867192c39ad5f9e" ns2:_="" ns3:_="">
    <xsd:import namespace="a61d376a-75eb-4b09-90f3-e6550172123c"/>
    <xsd:import namespace="e2407224-1ffa-4b55-9c25-adcd2ee3f21a"/>
    <xsd:element name="properties">
      <xsd:complexType>
        <xsd:sequence>
          <xsd:element name="documentManagement">
            <xsd:complexType>
              <xsd:all>
                <xsd:element ref="ns2:Description" minOccurs="0"/>
                <xsd:element ref="ns2:Responsible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Bemerkung" minOccurs="0"/>
                <xsd:element ref="ns3:TaxKeywordTaxHTField" minOccurs="0"/>
                <xsd:element ref="ns3:TaxCatchAll" minOccurs="0"/>
                <xsd:element ref="ns2:MediaLengthInSeconds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1d376a-75eb-4b09-90f3-e6550172123c" elementFormDefault="qualified">
    <xsd:import namespace="http://schemas.microsoft.com/office/2006/documentManagement/types"/>
    <xsd:import namespace="http://schemas.microsoft.com/office/infopath/2007/PartnerControls"/>
    <xsd:element name="Description" ma:index="8" nillable="true" ma:displayName="Description" ma:format="Dropdown" ma:internalName="Description">
      <xsd:simpleType>
        <xsd:restriction base="dms:Text">
          <xsd:maxLength value="255"/>
        </xsd:restriction>
      </xsd:simpleType>
    </xsd:element>
    <xsd:element name="Responsible" ma:index="9" nillable="true" ma:displayName="Responsible" ma:description="&#10;" ma:format="Dropdown" ma:list="UserInfo" ma:SharePointGroup="0" ma:internalName="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Bemerkung" ma:index="22" nillable="true" ma:displayName="Bemerkung" ma:description="Originalplan von Heinrich" ma:format="Dropdown" ma:internalName="Bemerkung">
      <xsd:simpleType>
        <xsd:restriction base="dms:Text">
          <xsd:maxLength value="255"/>
        </xsd:restriction>
      </xsd:simpleType>
    </xsd:element>
    <xsd:element name="MediaLengthInSeconds" ma:index="2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8" nillable="true" ma:taxonomy="true" ma:internalName="lcf76f155ced4ddcb4097134ff3c332f" ma:taxonomyFieldName="MediaServiceImageTags" ma:displayName="Bildmarkierungen" ma:readOnly="false" ma:fieldId="{5cf76f15-5ced-4ddc-b409-7134ff3c332f}" ma:taxonomyMulti="true" ma:sspId="c4c2d9d3-f3ef-442e-95f1-f9e2d105ce4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407224-1ffa-4b55-9c25-adcd2ee3f2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4" nillable="true" ma:taxonomy="true" ma:internalName="TaxKeywordTaxHTField" ma:taxonomyFieldName="TaxKeyword" ma:displayName="Unternehmensstichwörter" ma:fieldId="{23f27201-bee3-471e-b2e7-b64fd8b7ca38}" ma:taxonomyMulti="true" ma:sspId="c4c2d9d3-f3ef-442e-95f1-f9e2d105ce4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5" nillable="true" ma:displayName="Taxonomy Catch All Column" ma:hidden="true" ma:list="{de41824f-126c-4715-b439-cc786637f504}" ma:internalName="TaxCatchAll" ma:showField="CatchAllData" ma:web="e2407224-1ffa-4b55-9c25-adcd2ee3f2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85EE98-42BF-4206-AD06-8DFC473C2473}">
  <ds:schemaRefs>
    <ds:schemaRef ds:uri="http://schemas.microsoft.com/office/2006/metadata/properties"/>
    <ds:schemaRef ds:uri="http://schemas.microsoft.com/office/infopath/2007/PartnerControls"/>
    <ds:schemaRef ds:uri="a61d376a-75eb-4b09-90f3-e6550172123c"/>
    <ds:schemaRef ds:uri="e2407224-1ffa-4b55-9c25-adcd2ee3f21a"/>
  </ds:schemaRefs>
</ds:datastoreItem>
</file>

<file path=customXml/itemProps2.xml><?xml version="1.0" encoding="utf-8"?>
<ds:datastoreItem xmlns:ds="http://schemas.openxmlformats.org/officeDocument/2006/customXml" ds:itemID="{F25BA6AD-D31E-4898-9870-3C6D529132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180BF-1F92-48E7-B39E-880B4B0B85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1d376a-75eb-4b09-90f3-e6550172123c"/>
    <ds:schemaRef ds:uri="e2407224-1ffa-4b55-9c25-adcd2ee3f2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6</Words>
  <Application>Microsoft Office PowerPoint</Application>
  <PresentationFormat>Benutzerdefiniert</PresentationFormat>
  <Paragraphs>189</Paragraphs>
  <Slides>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21" baseType="lpstr">
      <vt:lpstr>Symbol</vt:lpstr>
      <vt:lpstr>DM Sans 2</vt:lpstr>
      <vt:lpstr>Open Sans Bold</vt:lpstr>
      <vt:lpstr>DM Sans 2 Bold</vt:lpstr>
      <vt:lpstr>Arial</vt:lpstr>
      <vt:lpstr>Calibri</vt:lpstr>
      <vt:lpstr>Aptos</vt:lpstr>
      <vt:lpstr>DM Sans 1</vt:lpstr>
      <vt:lpstr>Wingdings</vt:lpstr>
      <vt:lpstr>Office Theme</vt:lpstr>
      <vt:lpstr>5_Office</vt:lpstr>
      <vt:lpstr>think-cell Folie</vt:lpstr>
      <vt:lpstr>LocalZero Top-Maßnahmen Governance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Johannes Hofmann</cp:lastModifiedBy>
  <cp:revision>8</cp:revision>
  <dcterms:created xsi:type="dcterms:W3CDTF">2006-08-16T00:00:00Z</dcterms:created>
  <dcterms:modified xsi:type="dcterms:W3CDTF">2024-12-09T10:32:15Z</dcterms:modified>
  <dc:identifier>DAGMa3UTT6E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4D9783C9262A4489780AD3E9776390</vt:lpwstr>
  </property>
  <property fmtid="{D5CDD505-2E9C-101B-9397-08002B2CF9AE}" pid="3" name="TaxKeyword">
    <vt:lpwstr/>
  </property>
  <property fmtid="{D5CDD505-2E9C-101B-9397-08002B2CF9AE}" pid="4" name="MediaServiceImageTags">
    <vt:lpwstr/>
  </property>
</Properties>
</file>